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4B-448E-8C4A-17466389C2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4B-448E-8C4A-17466389C2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4B-448E-8C4A-17466389C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86200640"/>
        <c:axId val="286198240"/>
      </c:barChart>
      <c:catAx>
        <c:axId val="286200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43-406F-8D6B-139D91384E6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43-406F-8D6B-139D91384E6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43-406F-8D6B-139D91384E6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43-406F-8D6B-139D91384E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DE5B1-3BBC-41C1-78F1-852826E54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EB34C7-E8A8-DFE0-2902-788CABF59B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EB34C7-E8A8-DFE0-2902-788CABF59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94967AF4-4C87-FB12-3379-6225D437E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/ Cluster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ADE2F18-149E-7489-B418-8FA5E6D1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37F504A7-82BF-38B3-9D02-D50F870F3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589DD3D-4F79-D82A-2019-9EE7EAF06E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B20FB7F-123A-E805-3BF4-43C48F74C75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9C104133-30F6-AF8C-6FC5-D5C7B158E43F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32">
            <a:extLst>
              <a:ext uri="{FF2B5EF4-FFF2-40B4-BE49-F238E27FC236}">
                <a16:creationId xmlns:a16="http://schemas.microsoft.com/office/drawing/2014/main" id="{32EFA262-3A91-22B0-70B9-E20DAF1B1F98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5598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/ Cluster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0</cp:revision>
  <dcterms:created xsi:type="dcterms:W3CDTF">2025-07-09T10:57:17Z</dcterms:created>
  <dcterms:modified xsi:type="dcterms:W3CDTF">2025-10-22T10:11:37Z</dcterms:modified>
  <cp:category/>
</cp:coreProperties>
</file>